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123" d="100"/>
          <a:sy n="123" d="100"/>
        </p:scale>
        <p:origin x="90" y="2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1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1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369759"/>
            <a:ext cx="4791301" cy="25026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1071184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31" y="107118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360051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107540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12175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371578"/>
            <a:ext cx="4768651" cy="1704425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867038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4702625"/>
            <a:ext cx="4791301" cy="14791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214175" y="4238696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7" y="1071184"/>
            <a:ext cx="4791301" cy="10711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360051"/>
            <a:ext cx="4791301" cy="250268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080480"/>
            <a:ext cx="4791301" cy="109724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359083"/>
            <a:ext cx="4791301" cy="17169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51626" y="4702625"/>
            <a:ext cx="4791301" cy="147510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57555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8/1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5521" y="231045"/>
            <a:ext cx="7660479" cy="507298"/>
          </a:xfrm>
        </p:spPr>
        <p:txBody>
          <a:bodyPr/>
          <a:lstStyle/>
          <a:p>
            <a:r>
              <a:rPr lang="da-DK" sz="2300" dirty="0"/>
              <a:t>Ingen kan fortjene frels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275702" y="2383736"/>
            <a:ext cx="4791304" cy="2493064"/>
          </a:xfrm>
        </p:spPr>
        <p:txBody>
          <a:bodyPr>
            <a:noAutofit/>
          </a:bodyPr>
          <a:lstStyle/>
          <a:p>
            <a:r>
              <a:rPr lang="da-DK" sz="1100" dirty="0"/>
              <a:t>Jesus’ lignelse om farisæer og tolder. Om deres bønner .</a:t>
            </a:r>
          </a:p>
          <a:p>
            <a:r>
              <a:rPr lang="da-DK" sz="1100" dirty="0"/>
              <a:t>Farisæers udgangspunkt  egne gode gerninger. Han selvroser og sammenligner sig med andre.</a:t>
            </a:r>
          </a:p>
          <a:p>
            <a:r>
              <a:rPr lang="da-DK" sz="1100" dirty="0"/>
              <a:t>Tolder føler intet værd. Han er selvudslettende og kan kun anråbe Gud om nåde.</a:t>
            </a:r>
          </a:p>
          <a:p>
            <a:r>
              <a:rPr lang="da-DK" sz="1100" dirty="0"/>
              <a:t>Jesus siger, at tolderen, der går hjem retfærdiggjort, mens farisæer er dømt pga. hans hovmod.</a:t>
            </a:r>
          </a:p>
          <a:p>
            <a:r>
              <a:rPr lang="da-DK" sz="1100" dirty="0"/>
              <a:t> </a:t>
            </a:r>
            <a:endParaRPr lang="da-DK" sz="1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sz="1200" dirty="0"/>
              <a:t>Luk. 18:9-1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75702" y="5107540"/>
            <a:ext cx="4791301" cy="1071121"/>
          </a:xfrm>
        </p:spPr>
        <p:txBody>
          <a:bodyPr/>
          <a:lstStyle/>
          <a:p>
            <a:pPr marL="0" indent="0">
              <a:buNone/>
            </a:pPr>
            <a:r>
              <a:rPr lang="da-DK" sz="1100" dirty="0"/>
              <a:t>Hovmod står for fald, og vi kan ikke sige os fri for denne fare i vores gamle jeg. </a:t>
            </a:r>
          </a:p>
          <a:p>
            <a:pPr marL="0" indent="0">
              <a:buNone/>
            </a:pPr>
            <a:r>
              <a:rPr lang="da-DK" sz="1100" dirty="0"/>
              <a:t>Skal vide vi er tilgivet ikke pga. vor anstrengelse eller gode handlinger men alene pga. Jesus offer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371578"/>
            <a:ext cx="4794777" cy="1704425"/>
          </a:xfrm>
        </p:spPr>
        <p:txBody>
          <a:bodyPr/>
          <a:lstStyle/>
          <a:p>
            <a:r>
              <a:rPr lang="da-DK" sz="1200" dirty="0"/>
              <a:t>Hvad skal vi gøre, når vi sammenligner os med andre</a:t>
            </a:r>
          </a:p>
          <a:p>
            <a:r>
              <a:rPr lang="da-DK" sz="1200" dirty="0"/>
              <a:t>Hvorfor er stolthed så svær at komme af med </a:t>
            </a:r>
          </a:p>
          <a:p>
            <a:r>
              <a:rPr lang="da-DK" sz="1200" dirty="0"/>
              <a:t>Hvad skal vi gøre i stedet for at se ned på andre med deres fejl 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4702625"/>
            <a:ext cx="4791301" cy="1479198"/>
          </a:xfrm>
        </p:spPr>
        <p:txBody>
          <a:bodyPr/>
          <a:lstStyle/>
          <a:p>
            <a:endParaRPr lang="da-DK" sz="11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7803F5-6891-BD45-A643-E1B43C0AB861}"/>
              </a:ext>
            </a:extLst>
          </p:cNvPr>
          <p:cNvSpPr txBox="1"/>
          <p:nvPr/>
        </p:nvSpPr>
        <p:spPr>
          <a:xfrm>
            <a:off x="12107333" y="-2810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5C912E7-263A-1242-8E5A-A6DF1EA11F72}"/>
              </a:ext>
            </a:extLst>
          </p:cNvPr>
          <p:cNvSpPr txBox="1"/>
          <p:nvPr/>
        </p:nvSpPr>
        <p:spPr>
          <a:xfrm>
            <a:off x="4490113" y="47357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83b4fc67-7e4d-4af3-b66e-0e0e8a1422f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96</TotalTime>
  <Words>145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Ingen kan fortjene frels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Jaakko Puukka</cp:lastModifiedBy>
  <cp:revision>115</cp:revision>
  <dcterms:created xsi:type="dcterms:W3CDTF">2019-08-19T18:08:22Z</dcterms:created>
  <dcterms:modified xsi:type="dcterms:W3CDTF">2021-08-14T17:31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